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7" r:id="rId1"/>
  </p:sldMasterIdLst>
  <p:notesMasterIdLst>
    <p:notesMasterId r:id="rId5"/>
  </p:notesMasterIdLst>
  <p:sldIdLst>
    <p:sldId id="256" r:id="rId2"/>
    <p:sldId id="260" r:id="rId3"/>
    <p:sldId id="261" r:id="rId4"/>
  </p:sldIdLst>
  <p:sldSz cx="12192000" cy="6858000"/>
  <p:notesSz cx="6858000" cy="9144000"/>
  <p:custDataLst>
    <p:tags r:id="rId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87" d="100"/>
          <a:sy n="87" d="100"/>
        </p:scale>
        <p:origin x="666" y="9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87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87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399" cy="308609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8070256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hape 7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Shape 75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6" name="Shape 76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87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/>
              <a:pPr lvl="0">
                <a:spcBef>
                  <a:spcPts val="0"/>
                </a:spcBef>
                <a:buClr>
                  <a:srgbClr val="000000"/>
                </a:buClr>
                <a:buSzPct val="25000"/>
                <a:buFont typeface="Arial"/>
                <a:buNone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4947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hape 7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Shape 75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6" name="Shape 76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87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/>
              <a:pPr lvl="0">
                <a:spcBef>
                  <a:spcPts val="0"/>
                </a:spcBef>
                <a:buClr>
                  <a:srgbClr val="000000"/>
                </a:buClr>
                <a:buSzPct val="25000"/>
                <a:buFont typeface="Arial"/>
                <a:buNone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0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hape 7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Shape 75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6" name="Shape 76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87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/>
              <a:pPr lvl="0">
                <a:spcBef>
                  <a:spcPts val="0"/>
                </a:spcBef>
                <a:buClr>
                  <a:srgbClr val="000000"/>
                </a:buClr>
                <a:buSzPct val="25000"/>
                <a:buFont typeface="Arial"/>
                <a:buNone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4276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599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762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270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397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 txBox="1">
            <a:spLocks noGrp="1"/>
          </p:cNvSpPr>
          <p:nvPr>
            <p:ph type="ctrTitle"/>
          </p:nvPr>
        </p:nvSpPr>
        <p:spPr>
          <a:xfrm>
            <a:off x="1524000" y="1763485"/>
            <a:ext cx="9144000" cy="1746476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1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Cabeçalho da Seção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838200" y="4715326"/>
            <a:ext cx="7007678" cy="80690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838200" y="5549219"/>
            <a:ext cx="7007678" cy="80712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rgbClr val="888888"/>
              </a:buClr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Shape 3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ção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body" idx="1"/>
          </p:nvPr>
        </p:nvSpPr>
        <p:spPr>
          <a:xfrm>
            <a:off x="839787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" name="Shape 44"/>
          <p:cNvSpPr txBox="1">
            <a:spLocks noGrp="1"/>
          </p:cNvSpPr>
          <p:nvPr>
            <p:ph type="body" idx="2"/>
          </p:nvPr>
        </p:nvSpPr>
        <p:spPr>
          <a:xfrm>
            <a:off x="839787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Shape 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7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7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Shape 5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údo com Legenda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7" cy="160019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5183187" y="987425"/>
            <a:ext cx="6172199" cy="4873624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254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508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body" idx="2"/>
          </p:nvPr>
        </p:nvSpPr>
        <p:spPr>
          <a:xfrm>
            <a:off x="839787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" name="Shape 6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m com Legenda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hape 67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7" cy="160019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8" name="Shape 68"/>
          <p:cNvSpPr>
            <a:spLocks noGrp="1"/>
          </p:cNvSpPr>
          <p:nvPr>
            <p:ph type="pic" idx="2"/>
          </p:nvPr>
        </p:nvSpPr>
        <p:spPr>
          <a:xfrm>
            <a:off x="5183187" y="987425"/>
            <a:ext cx="6172199" cy="4873624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Shape 69"/>
          <p:cNvSpPr txBox="1">
            <a:spLocks noGrp="1"/>
          </p:cNvSpPr>
          <p:nvPr>
            <p:ph type="body" idx="1"/>
          </p:nvPr>
        </p:nvSpPr>
        <p:spPr>
          <a:xfrm>
            <a:off x="839787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0" name="Shape 7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" name="Shape 7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hape 10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1083" y="0"/>
            <a:ext cx="11877755" cy="678941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hape 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599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‹nº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708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pt-BR" sz="9600" b="1" dirty="0" smtClean="0">
                <a:solidFill>
                  <a:srgbClr val="FF0000"/>
                </a:solidFill>
              </a:rPr>
              <a:t>GT LOC-I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1152770" y="4851401"/>
            <a:ext cx="10515599" cy="1325562"/>
          </a:xfrm>
        </p:spPr>
        <p:txBody>
          <a:bodyPr/>
          <a:lstStyle/>
          <a:p>
            <a:r>
              <a:rPr lang="pt-BR" dirty="0" smtClean="0"/>
              <a:t>BCAST </a:t>
            </a:r>
            <a:r>
              <a:rPr lang="pt-BR" dirty="0" err="1" smtClean="0"/>
              <a:t>Apr</a:t>
            </a:r>
            <a:r>
              <a:rPr lang="pt-BR" dirty="0" smtClean="0"/>
              <a:t> 2018- ANAC SP</a:t>
            </a: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59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Shape 78"/>
          <p:cNvSpPr txBox="1">
            <a:spLocks noGrp="1"/>
          </p:cNvSpPr>
          <p:nvPr>
            <p:ph type="title"/>
          </p:nvPr>
        </p:nvSpPr>
        <p:spPr>
          <a:xfrm>
            <a:off x="838200" y="662850"/>
            <a:ext cx="10515600" cy="13257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GB" dirty="0"/>
              <a:t>LOC-I </a:t>
            </a:r>
          </a:p>
        </p:txBody>
      </p:sp>
      <p:sp>
        <p:nvSpPr>
          <p:cNvPr id="79" name="Shape 79"/>
          <p:cNvSpPr txBox="1">
            <a:spLocks noGrp="1"/>
          </p:cNvSpPr>
          <p:nvPr>
            <p:ph type="body" idx="1"/>
          </p:nvPr>
        </p:nvSpPr>
        <p:spPr>
          <a:xfrm>
            <a:off x="490450" y="1840607"/>
            <a:ext cx="10863349" cy="557012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Calibri"/>
            </a:pPr>
            <a:r>
              <a:rPr lang="pt-BR" sz="1800" b="1" dirty="0" smtClean="0">
                <a:latin typeface="+mn-lt"/>
              </a:rPr>
              <a:t>Realizadas nove (9) reuniões;</a:t>
            </a:r>
          </a:p>
          <a:p>
            <a: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Calibri"/>
            </a:pPr>
            <a:r>
              <a:rPr lang="pt-BR" sz="1800" b="1" dirty="0" smtClean="0">
                <a:latin typeface="+mn-lt"/>
              </a:rPr>
              <a:t>Discutido e identificado os</a:t>
            </a:r>
            <a:r>
              <a:rPr lang="pt-BR" sz="1800" b="1" i="1" dirty="0" smtClean="0">
                <a:latin typeface="+mn-lt"/>
              </a:rPr>
              <a:t> </a:t>
            </a:r>
            <a:r>
              <a:rPr lang="pt-BR" sz="1800" b="1" dirty="0" smtClean="0">
                <a:latin typeface="+mn-lt"/>
              </a:rPr>
              <a:t>fatores contribuintes, algumas soluções propostas pela indústria, treinamento e as </a:t>
            </a:r>
            <a:r>
              <a:rPr lang="pt-BR" sz="1800" b="1" i="1" dirty="0" smtClean="0">
                <a:latin typeface="+mn-lt"/>
              </a:rPr>
              <a:t>Safety </a:t>
            </a:r>
            <a:r>
              <a:rPr lang="pt-BR" sz="1800" b="1" i="1" dirty="0" err="1" smtClean="0">
                <a:latin typeface="+mn-lt"/>
              </a:rPr>
              <a:t>Enhancements</a:t>
            </a:r>
            <a:r>
              <a:rPr lang="pt-BR" sz="1800" b="1" i="1" dirty="0" smtClean="0">
                <a:latin typeface="+mn-lt"/>
              </a:rPr>
              <a:t> </a:t>
            </a:r>
            <a:r>
              <a:rPr lang="pt-BR" sz="1800" b="1" dirty="0" smtClean="0">
                <a:latin typeface="+mn-lt"/>
              </a:rPr>
              <a:t>aplicáveis;</a:t>
            </a:r>
          </a:p>
          <a:p>
            <a: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Calibri"/>
            </a:pPr>
            <a:r>
              <a:rPr lang="pt-BR" sz="1800" b="1" dirty="0" smtClean="0">
                <a:latin typeface="+mn-lt"/>
              </a:rPr>
              <a:t>Visita técnica agendada na EMBRAER São José dos Campos;</a:t>
            </a:r>
          </a:p>
          <a:p>
            <a: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Calibri"/>
            </a:pPr>
            <a:r>
              <a:rPr lang="pt-BR" sz="1800" b="1" dirty="0" smtClean="0">
                <a:latin typeface="+mn-lt"/>
              </a:rPr>
              <a:t>Elaborado um questionário via Google </a:t>
            </a:r>
            <a:r>
              <a:rPr lang="pt-BR" sz="1800" b="1" dirty="0" err="1" smtClean="0">
                <a:latin typeface="+mn-lt"/>
              </a:rPr>
              <a:t>Forms</a:t>
            </a:r>
            <a:r>
              <a:rPr lang="pt-BR" sz="1800" b="1" dirty="0" smtClean="0">
                <a:latin typeface="+mn-lt"/>
              </a:rPr>
              <a:t>, com perguntas direcionadas aos </a:t>
            </a:r>
            <a:r>
              <a:rPr lang="pt-BR" sz="1800" b="1" dirty="0" err="1" smtClean="0">
                <a:latin typeface="+mn-lt"/>
              </a:rPr>
              <a:t>Safeties</a:t>
            </a:r>
            <a:r>
              <a:rPr lang="pt-BR" sz="1800" b="1" dirty="0" smtClean="0">
                <a:latin typeface="+mn-lt"/>
              </a:rPr>
              <a:t> e Flight Standards da cias aéreas RBAC 121 no intuito de identificar o status atual da </a:t>
            </a:r>
            <a:r>
              <a:rPr lang="pt-BR" sz="1600" b="1" dirty="0" smtClean="0">
                <a:latin typeface="+mn-lt"/>
              </a:rPr>
              <a:t>indústria Brasileira quanto ao tema </a:t>
            </a:r>
            <a:r>
              <a:rPr lang="pt-BR" sz="1600" b="1" i="1" dirty="0" err="1" smtClean="0">
                <a:latin typeface="+mn-lt"/>
              </a:rPr>
              <a:t>Loss</a:t>
            </a:r>
            <a:r>
              <a:rPr lang="pt-BR" sz="1600" b="1" i="1" dirty="0" smtClean="0">
                <a:latin typeface="+mn-lt"/>
              </a:rPr>
              <a:t> </a:t>
            </a:r>
            <a:r>
              <a:rPr lang="pt-BR" sz="1600" b="1" i="1" dirty="0" err="1">
                <a:latin typeface="+mn-lt"/>
              </a:rPr>
              <a:t>o</a:t>
            </a:r>
            <a:r>
              <a:rPr lang="pt-BR" sz="1600" b="1" i="1" dirty="0" err="1" smtClean="0">
                <a:latin typeface="+mn-lt"/>
              </a:rPr>
              <a:t>f</a:t>
            </a:r>
            <a:r>
              <a:rPr lang="pt-BR" sz="1600" b="1" i="1" dirty="0" smtClean="0">
                <a:latin typeface="+mn-lt"/>
              </a:rPr>
              <a:t> </a:t>
            </a:r>
            <a:r>
              <a:rPr lang="pt-BR" sz="1600" b="1" i="1" dirty="0" err="1" smtClean="0">
                <a:latin typeface="+mn-lt"/>
              </a:rPr>
              <a:t>Control</a:t>
            </a:r>
            <a:r>
              <a:rPr lang="pt-BR" sz="1600" b="1" i="1" dirty="0" smtClean="0">
                <a:latin typeface="+mn-lt"/>
              </a:rPr>
              <a:t> </a:t>
            </a:r>
            <a:r>
              <a:rPr lang="pt-BR" sz="1600" b="1" i="1" dirty="0" err="1" smtClean="0">
                <a:latin typeface="+mn-lt"/>
              </a:rPr>
              <a:t>In-Flight</a:t>
            </a:r>
            <a:r>
              <a:rPr lang="pt-BR" sz="1600" b="1" dirty="0">
                <a:latin typeface="+mn-lt"/>
              </a:rPr>
              <a:t>;</a:t>
            </a:r>
            <a:endParaRPr lang="pt-BR" sz="1600" b="1" dirty="0" smtClean="0">
              <a:latin typeface="+mn-lt"/>
            </a:endParaRPr>
          </a:p>
          <a:p>
            <a:pPr marL="914400" lvl="1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Ø"/>
            </a:pPr>
            <a:r>
              <a:rPr lang="pt-BR" sz="1600" b="1" dirty="0" smtClean="0"/>
              <a:t> </a:t>
            </a:r>
            <a:r>
              <a:rPr lang="pt-BR" sz="1600" b="1" dirty="0"/>
              <a:t>Após o envio das repostas pelas cias aéreas RBAC 121, iremos efetuar análise estatística para mapear a aplicação e a aderência dos operadores aéreos nacionais às melhores práticas aplicadas na indústria mundial.</a:t>
            </a:r>
          </a:p>
          <a:p>
            <a:pPr marL="457200" lvl="0" indent="-342900" rtl="0">
              <a:lnSpc>
                <a:spcPct val="100000"/>
              </a:lnSpc>
              <a:spcBef>
                <a:spcPts val="0"/>
              </a:spcBef>
              <a:buSzPct val="100000"/>
              <a:buFont typeface="Calibri"/>
            </a:pPr>
            <a:endParaRPr lang="pt-BR" sz="1800" b="1" dirty="0" smtClean="0"/>
          </a:p>
          <a:p>
            <a:pPr marL="457200" lvl="0" indent="-342900" rtl="0">
              <a:lnSpc>
                <a:spcPct val="100000"/>
              </a:lnSpc>
              <a:spcBef>
                <a:spcPts val="0"/>
              </a:spcBef>
              <a:buSzPct val="100000"/>
              <a:buFont typeface="Calibri"/>
            </a:pPr>
            <a:r>
              <a:rPr lang="pt-BR" sz="1800" b="1" dirty="0" smtClean="0">
                <a:latin typeface="+mn-lt"/>
              </a:rPr>
              <a:t>Efetuaremos reunião com os pilotos do Grupo Técnico da LATAM Brasil no dia 21/05/2018;</a:t>
            </a:r>
            <a:endParaRPr sz="1800" b="1" dirty="0" smtClean="0">
              <a:latin typeface="+mn-lt"/>
            </a:endParaRPr>
          </a:p>
          <a:p>
            <a:pPr marL="114300" lvl="0" indent="0" rtl="0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endParaRPr lang="en-GB" sz="1800" b="1" dirty="0" smtClean="0"/>
          </a:p>
          <a:p>
            <a:pPr marL="457200" lvl="0" indent="-342900" rtl="0">
              <a:lnSpc>
                <a:spcPct val="100000"/>
              </a:lnSpc>
              <a:spcBef>
                <a:spcPts val="0"/>
              </a:spcBef>
              <a:buSzPct val="100000"/>
              <a:buFont typeface="Calibri"/>
            </a:pPr>
            <a:endParaRPr lang="en-GB" sz="1800" b="1" dirty="0" smtClean="0"/>
          </a:p>
          <a:p>
            <a:pPr marL="457200" lvl="0" indent="-342900" rtl="0">
              <a:lnSpc>
                <a:spcPct val="100000"/>
              </a:lnSpc>
              <a:spcBef>
                <a:spcPts val="0"/>
              </a:spcBef>
              <a:buSzPct val="100000"/>
              <a:buFont typeface="Calibri"/>
            </a:pPr>
            <a:endParaRPr lang="en-GB" sz="1800" b="1" dirty="0" smtClean="0"/>
          </a:p>
          <a:p>
            <a:pPr marL="0" lvl="0" indent="-69850" rtl="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endParaRPr sz="1100" dirty="0"/>
          </a:p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383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Shape 78"/>
          <p:cNvSpPr txBox="1">
            <a:spLocks noGrp="1"/>
          </p:cNvSpPr>
          <p:nvPr>
            <p:ph type="title"/>
          </p:nvPr>
        </p:nvSpPr>
        <p:spPr>
          <a:xfrm>
            <a:off x="838200" y="423080"/>
            <a:ext cx="10515600" cy="13257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GB" dirty="0"/>
              <a:t>LOC-I 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42484" y="1576175"/>
            <a:ext cx="3069632" cy="468800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9391" y="1576175"/>
            <a:ext cx="60960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939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plA3R5RWe27hWRX.7g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</TotalTime>
  <Words>137</Words>
  <Application>Microsoft Office PowerPoint</Application>
  <PresentationFormat>Widescreen</PresentationFormat>
  <Paragraphs>17</Paragraphs>
  <Slides>3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</vt:i4>
      </vt:variant>
    </vt:vector>
  </HeadingPairs>
  <TitlesOfParts>
    <vt:vector size="8" baseType="lpstr">
      <vt:lpstr>Arial</vt:lpstr>
      <vt:lpstr>Calibri</vt:lpstr>
      <vt:lpstr>Wingdings</vt:lpstr>
      <vt:lpstr>Tema do Office</vt:lpstr>
      <vt:lpstr>Slide do think-cell</vt:lpstr>
      <vt:lpstr>BCAST Apr 2018- ANAC SP</vt:lpstr>
      <vt:lpstr>LOC-I </vt:lpstr>
      <vt:lpstr>LOC-I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C-I</dc:title>
  <dc:creator>Marcelo Diulgheroglo    (LATAM)</dc:creator>
  <cp:lastModifiedBy>Cátia Rejane da Cunha Lessa</cp:lastModifiedBy>
  <cp:revision>10</cp:revision>
  <dcterms:created xsi:type="dcterms:W3CDTF">2017-09-27T11:10:44Z</dcterms:created>
  <dcterms:modified xsi:type="dcterms:W3CDTF">2018-05-04T15:41:37Z</dcterms:modified>
</cp:coreProperties>
</file>